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56" r:id="rId5"/>
    <p:sldId id="705" r:id="rId6"/>
    <p:sldId id="657" r:id="rId7"/>
    <p:sldId id="696" r:id="rId8"/>
    <p:sldId id="703" r:id="rId9"/>
    <p:sldId id="704" r:id="rId10"/>
    <p:sldId id="700" r:id="rId11"/>
    <p:sldId id="702" r:id="rId12"/>
    <p:sldId id="697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705"/>
            <p14:sldId id="657"/>
            <p14:sldId id="696"/>
            <p14:sldId id="703"/>
            <p14:sldId id="704"/>
            <p14:sldId id="700"/>
            <p14:sldId id="702"/>
            <p14:sldId id="69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F66"/>
    <a:srgbClr val="FF9833"/>
    <a:srgbClr val="039CD1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61" d="100"/>
          <a:sy n="61" d="100"/>
        </p:scale>
        <p:origin x="69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0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5445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3815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3512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5/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2514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cs2-anacond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7CA6449-4D91-1ED5-71DC-3DAB8683B4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1623" y="928608"/>
            <a:ext cx="6937849" cy="5200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F9F590B-CF3F-FE89-63F9-388F815490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3" y="3024188"/>
            <a:ext cx="5468937" cy="500062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Anaconda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05405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223678"/>
            <a:ext cx="11593145" cy="2891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aconda is a distribution of Python for scientific computing, that aims to simplify package management and deployment. The distribution includes data-science packages suitable for Windows, Linux, and macOS.</a:t>
            </a:r>
            <a:endParaRPr lang="en-US" sz="28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distribution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6" y="989228"/>
            <a:ext cx="11516421" cy="1201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o download Anaconda, visit </a:t>
            </a:r>
            <a:r>
              <a:rPr lang="en-US" sz="2400" b="1" dirty="0">
                <a:solidFill>
                  <a:srgbClr val="FF9833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bit.ly/cs2-anaconda</a:t>
            </a:r>
            <a:endParaRPr lang="en-US" sz="2400" b="1" dirty="0">
              <a:solidFill>
                <a:srgbClr val="FF9833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n click on Download</a:t>
            </a:r>
            <a:endParaRPr lang="en-US" sz="2000" b="1" dirty="0">
              <a:effectLst/>
              <a:latin typeface="+mj-lt"/>
              <a:ea typeface="Noto Sans Symbols"/>
              <a:cs typeface="Noto Sans Symbols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Installation</a:t>
            </a:r>
          </a:p>
        </p:txBody>
      </p:sp>
      <p:pic>
        <p:nvPicPr>
          <p:cNvPr id="8" name="image39.png">
            <a:extLst>
              <a:ext uri="{FF2B5EF4-FFF2-40B4-BE49-F238E27FC236}">
                <a16:creationId xmlns:a16="http://schemas.microsoft.com/office/drawing/2014/main" id="{049556A8-4580-419D-8F31-96A675ADA9CF}"/>
              </a:ext>
            </a:extLst>
          </p:cNvPr>
          <p:cNvPicPr/>
          <p:nvPr/>
        </p:nvPicPr>
        <p:blipFill rotWithShape="1">
          <a:blip r:embed="rId4"/>
          <a:srcRect t="34267"/>
          <a:stretch/>
        </p:blipFill>
        <p:spPr>
          <a:xfrm>
            <a:off x="299427" y="2426455"/>
            <a:ext cx="11083276" cy="3460996"/>
          </a:xfrm>
          <a:prstGeom prst="rect">
            <a:avLst/>
          </a:prstGeom>
          <a:ln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FB34A7-53C4-48AB-B75F-786255F9B43E}"/>
              </a:ext>
            </a:extLst>
          </p:cNvPr>
          <p:cNvSpPr/>
          <p:nvPr/>
        </p:nvSpPr>
        <p:spPr>
          <a:xfrm>
            <a:off x="299426" y="6078381"/>
            <a:ext cx="11516421" cy="458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r Anaconda setup will start downloading. After download, you can now install it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30152" y="2557336"/>
            <a:ext cx="11593145" cy="1466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aconda Navigator is a desktop and graphical user interface (GUI) included in Anaconda distribution that allows you to launch applications without using command-line interface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82747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</p:spTree>
    <p:extLst>
      <p:ext uri="{BB962C8B-B14F-4D97-AF65-F5344CB8AC3E}">
        <p14:creationId xmlns:p14="http://schemas.microsoft.com/office/powerpoint/2010/main" val="6682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68892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  <p:pic>
        <p:nvPicPr>
          <p:cNvPr id="5" name="image33.png">
            <a:extLst>
              <a:ext uri="{FF2B5EF4-FFF2-40B4-BE49-F238E27FC236}">
                <a16:creationId xmlns:a16="http://schemas.microsoft.com/office/drawing/2014/main" id="{015DFA9E-298C-4FA7-B480-A478AC89997B}"/>
              </a:ext>
            </a:extLst>
          </p:cNvPr>
          <p:cNvPicPr/>
          <p:nvPr/>
        </p:nvPicPr>
        <p:blipFill rotWithShape="1">
          <a:blip r:embed="rId3"/>
          <a:srcRect b="3428"/>
          <a:stretch/>
        </p:blipFill>
        <p:spPr>
          <a:xfrm>
            <a:off x="428295" y="1026066"/>
            <a:ext cx="9677401" cy="529590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14859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44007" y="190389"/>
            <a:ext cx="7841683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2E74B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299427" y="1783847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1087569"/>
            <a:ext cx="11593146" cy="46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mbria" panose="02040503050406030204" pitchFamily="18" charset="0"/>
                <a:cs typeface="Arial" panose="020B0604020202020204" pitchFamily="34" charset="0"/>
              </a:rPr>
              <a:t>Among many applications present in  Anaconda are JupyterLab and Jupyter Notebook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C9F8970B-CD3B-4156-827D-6AC513150DA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299427" y="1783848"/>
            <a:ext cx="9360767" cy="4469468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030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2270096"/>
            <a:ext cx="11593146" cy="3176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JupyterLab and/or Jupyter notebook is a web application that allows you to create and share documents that contain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live code (e.g. Python code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explanatory text (written in markdown syntax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A2BAD2-6166-4C78-B791-00BCFBF2032D}"/>
              </a:ext>
            </a:extLst>
          </p:cNvPr>
          <p:cNvSpPr txBox="1"/>
          <p:nvPr/>
        </p:nvSpPr>
        <p:spPr>
          <a:xfrm>
            <a:off x="186322" y="239704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3508100-B454-441C-9691-C3626892D2A0}"/>
              </a:ext>
            </a:extLst>
          </p:cNvPr>
          <p:cNvSpPr txBox="1"/>
          <p:nvPr/>
        </p:nvSpPr>
        <p:spPr>
          <a:xfrm>
            <a:off x="299427" y="1898864"/>
            <a:ext cx="11046542" cy="1940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You can launch JupyterLab and/or Jupyter Notebook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Anaconda Navigator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Through terminal or Anaconda Prompt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90D43E-B89E-4609-AAF6-0A4C605EFF80}"/>
              </a:ext>
            </a:extLst>
          </p:cNvPr>
          <p:cNvSpPr txBox="1"/>
          <p:nvPr/>
        </p:nvSpPr>
        <p:spPr>
          <a:xfrm>
            <a:off x="202442" y="0"/>
            <a:ext cx="10493267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launch JupyterLab and/or Jupyter Notebook</a:t>
            </a:r>
          </a:p>
        </p:txBody>
      </p:sp>
    </p:spTree>
    <p:extLst>
      <p:ext uri="{BB962C8B-B14F-4D97-AF65-F5344CB8AC3E}">
        <p14:creationId xmlns:p14="http://schemas.microsoft.com/office/powerpoint/2010/main" val="17859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</TotalTime>
  <Words>203</Words>
  <Application>Microsoft Office PowerPoint</Application>
  <PresentationFormat>Widescreen</PresentationFormat>
  <Paragraphs>23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Gotham Light</vt:lpstr>
      <vt:lpstr>Lato Light</vt:lpstr>
      <vt:lpstr>Symbol</vt:lpstr>
      <vt:lpstr>Times New Roman</vt:lpstr>
      <vt:lpstr>1_Office Theme</vt:lpstr>
      <vt:lpstr>think-cell Slide</vt:lpstr>
      <vt:lpstr>Introduction to Programming in Python</vt:lpstr>
      <vt:lpstr>Anaconda distrib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7</cp:revision>
  <dcterms:created xsi:type="dcterms:W3CDTF">2020-03-16T19:15:12Z</dcterms:created>
  <dcterms:modified xsi:type="dcterms:W3CDTF">2024-05-03T18:4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